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60018"/>
    <a:srgbClr val="8D8D8D"/>
    <a:srgbClr val="5A5A5A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Weigel Stefan (PAR-EPS)" userId="fd3b2067-2981-4ad8-bf3a-d2e1004e4fa8" providerId="ADAL" clId="{1AE52D4F-620D-4CE4-8DD5-CAF1379786A4}"/>
    <pc:docChg chg="custSel modSld">
      <pc:chgData name="Weigel Stefan (PAR-EPS)" userId="fd3b2067-2981-4ad8-bf3a-d2e1004e4fa8" providerId="ADAL" clId="{1AE52D4F-620D-4CE4-8DD5-CAF1379786A4}" dt="2024-02-13T15:33:10.506" v="25" actId="207"/>
      <pc:docMkLst>
        <pc:docMk/>
      </pc:docMkLst>
      <pc:sldChg chg="addSp delSp modSp mod">
        <pc:chgData name="Weigel Stefan (PAR-EPS)" userId="fd3b2067-2981-4ad8-bf3a-d2e1004e4fa8" providerId="ADAL" clId="{1AE52D4F-620D-4CE4-8DD5-CAF1379786A4}" dt="2024-02-13T15:33:10.506" v="25" actId="207"/>
        <pc:sldMkLst>
          <pc:docMk/>
          <pc:sldMk cId="3808035539" sldId="270"/>
        </pc:sldMkLst>
        <pc:spChg chg="del">
          <ac:chgData name="Weigel Stefan (PAR-EPS)" userId="fd3b2067-2981-4ad8-bf3a-d2e1004e4fa8" providerId="ADAL" clId="{1AE52D4F-620D-4CE4-8DD5-CAF1379786A4}" dt="2024-02-13T15:28:55.102" v="5" actId="478"/>
          <ac:spMkLst>
            <pc:docMk/>
            <pc:sldMk cId="3808035539" sldId="270"/>
            <ac:spMk id="2" creationId="{00000000-0000-0000-0000-000000000000}"/>
          </ac:spMkLst>
        </pc:spChg>
        <pc:spChg chg="add del mod">
          <ac:chgData name="Weigel Stefan (PAR-EPS)" userId="fd3b2067-2981-4ad8-bf3a-d2e1004e4fa8" providerId="ADAL" clId="{1AE52D4F-620D-4CE4-8DD5-CAF1379786A4}" dt="2024-02-13T15:28:58.629" v="6" actId="478"/>
          <ac:spMkLst>
            <pc:docMk/>
            <pc:sldMk cId="3808035539" sldId="270"/>
            <ac:spMk id="4" creationId="{CB41F438-5C07-0B11-BDD6-95A837B253B7}"/>
          </ac:spMkLst>
        </pc:spChg>
        <pc:spChg chg="add mod">
          <ac:chgData name="Weigel Stefan (PAR-EPS)" userId="fd3b2067-2981-4ad8-bf3a-d2e1004e4fa8" providerId="ADAL" clId="{1AE52D4F-620D-4CE4-8DD5-CAF1379786A4}" dt="2024-02-13T15:29:05.036" v="10" actId="20577"/>
          <ac:spMkLst>
            <pc:docMk/>
            <pc:sldMk cId="3808035539" sldId="270"/>
            <ac:spMk id="5" creationId="{ECE5D2BE-8CEA-EC2F-F000-19519CEE8077}"/>
          </ac:spMkLst>
        </pc:spChg>
        <pc:spChg chg="add mod">
          <ac:chgData name="Weigel Stefan (PAR-EPS)" userId="fd3b2067-2981-4ad8-bf3a-d2e1004e4fa8" providerId="ADAL" clId="{1AE52D4F-620D-4CE4-8DD5-CAF1379786A4}" dt="2024-02-13T15:29:02.024" v="8"/>
          <ac:spMkLst>
            <pc:docMk/>
            <pc:sldMk cId="3808035539" sldId="270"/>
            <ac:spMk id="6" creationId="{64470667-9C71-2A73-48D8-E106EED16DD2}"/>
          </ac:spMkLst>
        </pc:spChg>
        <pc:spChg chg="del">
          <ac:chgData name="Weigel Stefan (PAR-EPS)" userId="fd3b2067-2981-4ad8-bf3a-d2e1004e4fa8" providerId="ADAL" clId="{1AE52D4F-620D-4CE4-8DD5-CAF1379786A4}" dt="2024-02-13T15:29:00.899" v="7" actId="478"/>
          <ac:spMkLst>
            <pc:docMk/>
            <pc:sldMk cId="3808035539" sldId="270"/>
            <ac:spMk id="11" creationId="{C872468D-648C-44F5-8DF7-75B41720E3E9}"/>
          </ac:spMkLst>
        </pc:spChg>
        <pc:spChg chg="mod">
          <ac:chgData name="Weigel Stefan (PAR-EPS)" userId="fd3b2067-2981-4ad8-bf3a-d2e1004e4fa8" providerId="ADAL" clId="{1AE52D4F-620D-4CE4-8DD5-CAF1379786A4}" dt="2024-02-13T15:29:15.819" v="17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PS)" userId="fd3b2067-2981-4ad8-bf3a-d2e1004e4fa8" providerId="ADAL" clId="{1AE52D4F-620D-4CE4-8DD5-CAF1379786A4}" dt="2024-02-13T15:33:10.506" v="25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2399A821-EAA4-43DB-86BE-DCF829D8A77E}"/>
    <pc:docChg chg="modSld">
      <pc:chgData name="Weigel Stefan (PAR-EPS)" userId="fd3b2067-2981-4ad8-bf3a-d2e1004e4fa8" providerId="ADAL" clId="{2399A821-EAA4-43DB-86BE-DCF829D8A77E}" dt="2024-02-28T14:02:08.288" v="9" actId="27918"/>
      <pc:docMkLst>
        <pc:docMk/>
      </pc:docMkLst>
      <pc:sldChg chg="modSp mod">
        <pc:chgData name="Weigel Stefan (PAR-EPS)" userId="fd3b2067-2981-4ad8-bf3a-d2e1004e4fa8" providerId="ADAL" clId="{2399A821-EAA4-43DB-86BE-DCF829D8A77E}" dt="2024-02-28T14:02:08.288" v="9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2399A821-EAA4-43DB-86BE-DCF829D8A77E}" dt="2024-02-28T14:01:25.765" v="3" actId="14100"/>
          <ac:spMkLst>
            <pc:docMk/>
            <pc:sldMk cId="3808035539" sldId="270"/>
            <ac:spMk id="5" creationId="{ECE5D2BE-8CEA-EC2F-F000-19519CEE8077}"/>
          </ac:spMkLst>
        </pc:spChg>
        <pc:spChg chg="mod">
          <ac:chgData name="Weigel Stefan (PAR-EPS)" userId="fd3b2067-2981-4ad8-bf3a-d2e1004e4fa8" providerId="ADAL" clId="{2399A821-EAA4-43DB-86BE-DCF829D8A77E}" dt="2024-02-28T14:01:48.515" v="5" actId="1036"/>
          <ac:spMkLst>
            <pc:docMk/>
            <pc:sldMk cId="3808035539" sldId="270"/>
            <ac:spMk id="6" creationId="{64470667-9C71-2A73-48D8-E106EED16DD2}"/>
          </ac:spMkLst>
        </pc:sp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54EC38D1-D1ED-4413-AF89-B689DB72A17F}"/>
    <pc:docChg chg="modSld">
      <pc:chgData name="Weigel Stefan (PAR-ES)" userId="fd3b2067-2981-4ad8-bf3a-d2e1004e4fa8" providerId="ADAL" clId="{54EC38D1-D1ED-4413-AF89-B689DB72A17F}" dt="2023-02-01T07:48:01.362" v="46" actId="207"/>
      <pc:docMkLst>
        <pc:docMk/>
      </pc:docMkLst>
      <pc:sldChg chg="modSp mod">
        <pc:chgData name="Weigel Stefan (PAR-ES)" userId="fd3b2067-2981-4ad8-bf3a-d2e1004e4fa8" providerId="ADAL" clId="{54EC38D1-D1ED-4413-AF89-B689DB72A17F}" dt="2023-02-01T07:48:01.362" v="46" actId="207"/>
        <pc:sldMkLst>
          <pc:docMk/>
          <pc:sldMk cId="3808035539" sldId="270"/>
        </pc:sldMkLst>
        <pc:spChg chg="mod">
          <ac:chgData name="Weigel Stefan (PAR-ES)" userId="fd3b2067-2981-4ad8-bf3a-d2e1004e4fa8" providerId="ADAL" clId="{54EC38D1-D1ED-4413-AF89-B689DB72A17F}" dt="2023-02-01T07:22:07.615" v="18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4EC38D1-D1ED-4413-AF89-B689DB72A17F}" dt="2023-02-01T07:22:28.047" v="35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S)" userId="fd3b2067-2981-4ad8-bf3a-d2e1004e4fa8" providerId="ADAL" clId="{54EC38D1-D1ED-4413-AF89-B689DB72A17F}" dt="2023-02-01T07:48:01.362" v="46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BF7BC7E7-8980-4DA8-AC52-BB8231A3306E}"/>
    <pc:docChg chg="modSld">
      <pc:chgData name="Weigel Stefan (PAR-EPS)" userId="fd3b2067-2981-4ad8-bf3a-d2e1004e4fa8" providerId="ADAL" clId="{BF7BC7E7-8980-4DA8-AC52-BB8231A3306E}" dt="2024-02-12T18:09:38.262" v="72" actId="27918"/>
      <pc:docMkLst>
        <pc:docMk/>
      </pc:docMkLst>
      <pc:sldChg chg="modSp mod">
        <pc:chgData name="Weigel Stefan (PAR-EPS)" userId="fd3b2067-2981-4ad8-bf3a-d2e1004e4fa8" providerId="ADAL" clId="{BF7BC7E7-8980-4DA8-AC52-BB8231A3306E}" dt="2024-02-12T18:09:38.262" v="72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BF7BC7E7-8980-4DA8-AC52-BB8231A3306E}" dt="2024-02-12T18:08:36.657" v="44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F7BC7E7-8980-4DA8-AC52-BB8231A3306E}" dt="2024-02-12T18:09:04.692" v="68" actId="20577"/>
          <ac:spMkLst>
            <pc:docMk/>
            <pc:sldMk cId="3808035539" sldId="270"/>
            <ac:spMk id="12" creationId="{5951AA1F-1F78-4199-A377-9885C86C21AF}"/>
          </ac:spMkLst>
        </pc:sp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41496303567492"/>
          <c:y val="3.711401967995117E-2"/>
          <c:w val="0.76707882778699366"/>
          <c:h val="0.882122802107782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I$2</c:f>
              <c:strCache>
                <c:ptCount val="1"/>
                <c:pt idx="0">
                  <c:v>Wert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4ED7-4664-9332-5D1E4B5B494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ED7-4664-9332-5D1E4B5B494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ED7-4664-9332-5D1E4B5B494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ED7-4664-9332-5D1E4B5B494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D7-4664-9332-5D1E4B5B494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ED7-4664-9332-5D1E4B5B494A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ED7-4664-9332-5D1E4B5B494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D7-4664-9332-5D1E4B5B494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ED7-4664-9332-5D1E4B5B494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ED7-4664-9332-5D1E4B5B494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ED7-4664-9332-5D1E4B5B494A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9D1-4637-85BC-0EAF17287C5A}"/>
              </c:ext>
            </c:extLst>
          </c:dPt>
          <c:dPt>
            <c:idx val="14"/>
            <c:invertIfNegative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dPt>
            <c:idx val="15"/>
            <c:invertIfNegative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1C-8B74-4E16-8ABD-94493A233CF0}"/>
              </c:ext>
            </c:extLst>
          </c:dPt>
          <c:cat>
            <c:strRef>
              <c:f>data!$H$3:$H$17</c:f>
              <c:strCache>
                <c:ptCount val="15"/>
                <c:pt idx="0">
                  <c:v>LG (LT)</c:v>
                </c:pt>
                <c:pt idx="1">
                  <c:v>SZDC (CZ)</c:v>
                </c:pt>
                <c:pt idx="2">
                  <c:v>Network Rail (GB)</c:v>
                </c:pt>
                <c:pt idx="3">
                  <c:v>FTA (FI)</c:v>
                </c:pt>
                <c:pt idx="4">
                  <c:v>SNCF Réseau (FR)</c:v>
                </c:pt>
                <c:pt idx="5">
                  <c:v>DB AG (DE)</c:v>
                </c:pt>
                <c:pt idx="6">
                  <c:v>ADIF (ES)</c:v>
                </c:pt>
                <c:pt idx="7">
                  <c:v>PKP (PL)</c:v>
                </c:pt>
                <c:pt idx="8">
                  <c:v>FS (IT)</c:v>
                </c:pt>
                <c:pt idx="9">
                  <c:v>ProRail (NL)</c:v>
                </c:pt>
                <c:pt idx="10">
                  <c:v>ÖBB (AT)</c:v>
                </c:pt>
                <c:pt idx="11">
                  <c:v>Trafikverket (SE)</c:v>
                </c:pt>
                <c:pt idx="12">
                  <c:v>Infrabel (BE)</c:v>
                </c:pt>
                <c:pt idx="13">
                  <c:v>CFL (LU)</c:v>
                </c:pt>
                <c:pt idx="14">
                  <c:v>CFF (CH)</c:v>
                </c:pt>
              </c:strCache>
            </c:strRef>
          </c:cat>
          <c:val>
            <c:numRef>
              <c:f>data!$I$3:$I$17</c:f>
              <c:numCache>
                <c:formatCode>0.0</c:formatCode>
                <c:ptCount val="15"/>
                <c:pt idx="0">
                  <c:v>7.9207920792079198</c:v>
                </c:pt>
                <c:pt idx="1">
                  <c:v>34.366648850881901</c:v>
                </c:pt>
                <c:pt idx="2">
                  <c:v>38.405027854834501</c:v>
                </c:pt>
                <c:pt idx="3">
                  <c:v>57.9249746535992</c:v>
                </c:pt>
                <c:pt idx="4">
                  <c:v>59.8352137767221</c:v>
                </c:pt>
                <c:pt idx="5">
                  <c:v>61.715668698458202</c:v>
                </c:pt>
                <c:pt idx="6">
                  <c:v>64.690265486725707</c:v>
                </c:pt>
                <c:pt idx="7">
                  <c:v>64.749396944518907</c:v>
                </c:pt>
                <c:pt idx="8">
                  <c:v>70.695225490252696</c:v>
                </c:pt>
                <c:pt idx="9">
                  <c:v>74.482078263728994</c:v>
                </c:pt>
                <c:pt idx="10">
                  <c:v>74.788354325831094</c:v>
                </c:pt>
                <c:pt idx="11">
                  <c:v>83.141210374639797</c:v>
                </c:pt>
                <c:pt idx="12">
                  <c:v>88.615639679469496</c:v>
                </c:pt>
                <c:pt idx="13">
                  <c:v>96.678966789667896</c:v>
                </c:pt>
                <c:pt idx="14">
                  <c:v>99.9780008302834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00"/>
        </c:scaling>
        <c:delete val="0"/>
        <c:axPos val="b"/>
        <c:majorGridlines/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133638400"/>
        <c:crosses val="autoZero"/>
        <c:crossBetween val="between"/>
        <c:majorUnit val="25"/>
        <c:dispUnits>
          <c:builtInUnit val="hundreds"/>
        </c:dispUnits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E3096D-63F5-415F-B8E4-765C23175D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E3096D-63F5-415F-B8E4-765C23175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8AAF2B3-9DD3-4BE3-8383-7A2141055A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3891669"/>
              </p:ext>
            </p:extLst>
          </p:nvPr>
        </p:nvGraphicFramePr>
        <p:xfrm>
          <a:off x="502919" y="1593849"/>
          <a:ext cx="10201593" cy="4283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2" name="Textfeld 11">
            <a:extLst>
              <a:ext uri="{FF2B5EF4-FFF2-40B4-BE49-F238E27FC236}">
                <a16:creationId xmlns:a16="http://schemas.microsoft.com/office/drawing/2014/main" id="{5951AA1F-1F78-4199-A377-9885C86C21AF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UIC, </a:t>
            </a: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Network Rail: 2021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29F12DD-D362-4327-A51F-7014752C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CE5D2BE-8CEA-EC2F-F000-19519CEE80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348954" cy="848226"/>
          </a:xfrm>
        </p:spPr>
        <p:txBody>
          <a:bodyPr/>
          <a:lstStyle/>
          <a:p>
            <a:r>
              <a:rPr lang="fr-FR" dirty="0"/>
              <a:t>Électrification des réseaux ferroviaires en Europe en 2022.</a:t>
            </a:r>
            <a:br>
              <a:rPr lang="fr-FR" dirty="0"/>
            </a:br>
            <a:endParaRPr lang="de-CH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4470667-9C71-2A73-48D8-E106EED16DD2}"/>
              </a:ext>
            </a:extLst>
          </p:cNvPr>
          <p:cNvSpPr txBox="1"/>
          <p:nvPr/>
        </p:nvSpPr>
        <p:spPr>
          <a:xfrm>
            <a:off x="1487487" y="989097"/>
            <a:ext cx="9217025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portion de tronçons électrifiés sur la longueur total des tronçons appartenant à un gestionnaire d’infrastructure</a:t>
            </a:r>
            <a:endParaRPr kumimoji="0" lang="de-CH" sz="1400" b="0" i="0" u="none" strike="noStrike" kern="1200" cap="none" spc="30" normalizeH="0" baseline="0" noProof="0" dirty="0">
              <a:ln>
                <a:noFill/>
              </a:ln>
              <a:solidFill>
                <a:srgbClr val="EB0000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8035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smfMoRi26Np7Rn4kh2w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A668EB5-C84D-40F5-AA83-87CE0E7ED8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Électrification des réseaux ferroviaires en Europe en 2022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Électrification des réseaux ferroviaires en Europe en 2022._x000b_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4:2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